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6" d="100"/>
          <a:sy n="66" d="100"/>
        </p:scale>
        <p:origin x="668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1/01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1/01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haitali0301/ChaitaliResume.git" TargetMode="External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github.com/Chaitali0301/Video" TargetMode="Externa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92863" y="3099973"/>
            <a:ext cx="3897195" cy="3621087"/>
          </a:xfrm>
        </p:spPr>
        <p:txBody>
          <a:bodyPr/>
          <a:lstStyle/>
          <a:p>
            <a:pPr marL="228600" indent="-228600" eaLnBrk="1" hangingPunct="1">
              <a:lnSpc>
                <a:spcPct val="114000"/>
              </a:lnSpc>
              <a:buAutoNum type="arabicPeriod"/>
            </a:pPr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Manual &amp; Automation Testing Complete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pleted the full course of manual Testing and Automation Testing in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Qspiders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With the Completion Certificate.</a:t>
            </a:r>
            <a:endParaRPr lang="en-IN" alt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IN" altLang="nl-NL" sz="1400" b="1" dirty="0">
                <a:latin typeface="Arial" panose="020B0604020202020204" pitchFamily="34" charset="0"/>
                <a:cs typeface="Arial" panose="020B0604020202020204" pitchFamily="34" charset="0"/>
              </a:rPr>
              <a:t>Software Testing Engineer</a:t>
            </a:r>
            <a:endParaRPr lang="en-US" altLang="nl-NL" sz="1400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4199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engaluru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15680" y="1605445"/>
            <a:ext cx="3870514" cy="295274"/>
          </a:xfrm>
        </p:spPr>
        <p:txBody>
          <a:bodyPr/>
          <a:lstStyle/>
          <a:p>
            <a:pPr eaLnBrk="1" hangingPunct="1"/>
            <a:r>
              <a:rPr lang="nl-NL" altLang="nl-NL" dirty="0"/>
              <a:t>GOUTHAM.DESABOYINA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9033" y="18332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9346328734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53860" y="3094870"/>
            <a:ext cx="3869932" cy="362108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Manual Testing and Automation Testing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nds on experience on Testing the applications of </a:t>
            </a:r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Facebook &amp; Zomato Login modul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urrently working as Test Engineer For </a:t>
            </a:r>
            <a:r>
              <a:rPr lang="en-US" altLang="en-US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Maatr</a:t>
            </a:r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 Proje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Experience on writing test cases for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maatr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.&amp; executing the test cases  by doing the manual testing.</a:t>
            </a:r>
            <a:endParaRPr lang="en-US" alt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Bachelor In Mechanical Engineering: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2017 -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20" b="1" dirty="0" err="1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ss</a:t>
            </a:r>
            <a:endParaRPr lang="en-US" altLang="en-US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Manual Testing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Automation Testing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ava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>
                <a:latin typeface="Arial" panose="020B0604020202020204" pitchFamily="34" charset="0"/>
                <a:cs typeface="Arial" panose="020B0604020202020204" pitchFamily="34" charset="0"/>
              </a:rPr>
              <a:t>GOUTHAM D</a:t>
            </a: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314184" y="6283419"/>
            <a:ext cx="432537" cy="43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3690" y="6283419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4" y="1965949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2C67E832-E183-4D9E-BDE3-F32F7FDA0787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87" b="12587"/>
          <a:stretch/>
        </p:blipFill>
        <p:spPr>
          <a:xfrm>
            <a:off x="188892" y="179230"/>
            <a:ext cx="1745122" cy="1678457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30A5E36C103344AFD0A83E8B43DE37" ma:contentTypeVersion="2" ma:contentTypeDescription="Create a new document." ma:contentTypeScope="" ma:versionID="fb91054739b691d8eb50f8dc1bb45a4e">
  <xsd:schema xmlns:xsd="http://www.w3.org/2001/XMLSchema" xmlns:xs="http://www.w3.org/2001/XMLSchema" xmlns:p="http://schemas.microsoft.com/office/2006/metadata/properties" xmlns:ns2="5d5ff2ad-8f65-4c2b-a74f-83bed9f87d8e" targetNamespace="http://schemas.microsoft.com/office/2006/metadata/properties" ma:root="true" ma:fieldsID="f477d7c06d0971793799608b32beba49" ns2:_="">
    <xsd:import namespace="5d5ff2ad-8f65-4c2b-a74f-83bed9f87d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5ff2ad-8f65-4c2b-a74f-83bed9f87d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8CEDE10-C5AE-40CE-8DBF-70ED16D76D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5ff2ad-8f65-4c2b-a74f-83bed9f87d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899</TotalTime>
  <Words>135</Words>
  <Application>Microsoft Office PowerPoint</Application>
  <PresentationFormat>Widescreen</PresentationFormat>
  <Paragraphs>4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Desaboyina, Goutham</cp:lastModifiedBy>
  <cp:revision>116</cp:revision>
  <dcterms:created xsi:type="dcterms:W3CDTF">2017-12-08T05:27:40Z</dcterms:created>
  <dcterms:modified xsi:type="dcterms:W3CDTF">2023-01-11T12:0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30A5E36C103344AFD0A83E8B43DE37</vt:lpwstr>
  </property>
</Properties>
</file>